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15"/>
  </p:notesMasterIdLst>
  <p:sldIdLst>
    <p:sldId id="2056" r:id="rId5"/>
    <p:sldId id="2061" r:id="rId6"/>
    <p:sldId id="2068" r:id="rId7"/>
    <p:sldId id="2062" r:id="rId8"/>
    <p:sldId id="2064" r:id="rId9"/>
    <p:sldId id="2063" r:id="rId10"/>
    <p:sldId id="2067" r:id="rId11"/>
    <p:sldId id="2065" r:id="rId12"/>
    <p:sldId id="2066" r:id="rId13"/>
    <p:sldId id="2057" r:id="rId14"/>
  </p:sldIdLst>
  <p:sldSz cx="11522075" cy="6484938"/>
  <p:notesSz cx="7315200" cy="123444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FlexoSoft" panose="020B0604020202020204" charset="0"/>
      <p:regular r:id="rId20"/>
      <p:bold r:id="rId21"/>
      <p:italic r:id="rId22"/>
      <p:boldItalic r:id="rId23"/>
    </p:embeddedFont>
    <p:embeddedFont>
      <p:font typeface="Montserrat" panose="00000500000000000000" pitchFamily="2" charset="0"/>
      <p:regular r:id="rId24"/>
      <p:bold r:id="rId25"/>
      <p:italic r:id="rId26"/>
      <p:boldItalic r:id="rId27"/>
    </p:embeddedFont>
    <p:embeddedFont>
      <p:font typeface="Montserrat Light" panose="00000400000000000000" pitchFamily="2" charset="0"/>
      <p:regular r:id="rId28"/>
      <p:italic r:id="rId29"/>
    </p:embeddedFont>
    <p:embeddedFont>
      <p:font typeface="Open Sans" panose="020B0606030504020204" pitchFamily="34" charset="0"/>
      <p:regular r:id="rId30"/>
      <p:bold r:id="rId31"/>
      <p:italic r:id="rId32"/>
      <p:boldItalic r:id="rId33"/>
    </p:embeddedFont>
    <p:embeddedFont>
      <p:font typeface="Wingdings 2" panose="05020102010507070707" pitchFamily="18" charset="2"/>
      <p:regular r:id="rId34"/>
    </p:embeddedFont>
  </p:embeddedFontLst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56"/>
            <p14:sldId id="2061"/>
            <p14:sldId id="2068"/>
            <p14:sldId id="2062"/>
            <p14:sldId id="2064"/>
            <p14:sldId id="2063"/>
            <p14:sldId id="2067"/>
            <p14:sldId id="2065"/>
            <p14:sldId id="2066"/>
            <p14:sldId id="20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BF3"/>
    <a:srgbClr val="122769"/>
    <a:srgbClr val="014651"/>
    <a:srgbClr val="000620"/>
    <a:srgbClr val="004750"/>
    <a:srgbClr val="37FFFD"/>
    <a:srgbClr val="FFFFFF"/>
    <a:srgbClr val="A4A4A4"/>
    <a:srgbClr val="32B9AF"/>
    <a:srgbClr val="00A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6B20C8-A752-4797-891A-7D2D976FB160}" v="6" dt="2023-10-19T13:39:03.4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2" autoAdjust="0"/>
    <p:restoredTop sz="94694"/>
  </p:normalViewPr>
  <p:slideViewPr>
    <p:cSldViewPr snapToGrid="0">
      <p:cViewPr varScale="1">
        <p:scale>
          <a:sx n="86" d="100"/>
          <a:sy n="86" d="100"/>
        </p:scale>
        <p:origin x="691" y="67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9" Type="http://schemas.openxmlformats.org/officeDocument/2006/relationships/theme" Target="theme/theme1.xml"/><Relationship Id="rId21" Type="http://schemas.openxmlformats.org/officeDocument/2006/relationships/font" Target="fonts/font6.fntdata"/><Relationship Id="rId34" Type="http://schemas.openxmlformats.org/officeDocument/2006/relationships/font" Target="fonts/font19.fntdata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32" Type="http://schemas.openxmlformats.org/officeDocument/2006/relationships/font" Target="fonts/font17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font" Target="fonts/font18.fntdata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Ludovic INNOV/NET" userId="d4e37ed5-b1a2-4614-850e-5d18b625a138" providerId="ADAL" clId="{C47AF026-22D4-4A18-8798-2B2115D792DE}"/>
    <pc:docChg chg="undo custSel mod addSld delSld modSld modMainMaster modSection">
      <pc:chgData name="ROBERT Ludovic INNOV/NET" userId="d4e37ed5-b1a2-4614-850e-5d18b625a138" providerId="ADAL" clId="{C47AF026-22D4-4A18-8798-2B2115D792DE}" dt="2023-10-17T15:14:31.760" v="2586" actId="20577"/>
      <pc:docMkLst>
        <pc:docMk/>
      </pc:docMkLst>
      <pc:sldChg chg="del">
        <pc:chgData name="ROBERT Ludovic INNOV/NET" userId="d4e37ed5-b1a2-4614-850e-5d18b625a138" providerId="ADAL" clId="{C47AF026-22D4-4A18-8798-2B2115D792DE}" dt="2023-10-17T11:45:20.814" v="2" actId="47"/>
        <pc:sldMkLst>
          <pc:docMk/>
          <pc:sldMk cId="1652484770" sldId="2044"/>
        </pc:sldMkLst>
      </pc:sldChg>
      <pc:sldChg chg="modSp mod">
        <pc:chgData name="ROBERT Ludovic INNOV/NET" userId="d4e37ed5-b1a2-4614-850e-5d18b625a138" providerId="ADAL" clId="{C47AF026-22D4-4A18-8798-2B2115D792DE}" dt="2023-10-17T11:47:07.850" v="54" actId="20577"/>
        <pc:sldMkLst>
          <pc:docMk/>
          <pc:sldMk cId="753175953" sldId="2056"/>
        </pc:sldMkLst>
        <pc:spChg chg="mod">
          <ac:chgData name="ROBERT Ludovic INNOV/NET" userId="d4e37ed5-b1a2-4614-850e-5d18b625a138" providerId="ADAL" clId="{C47AF026-22D4-4A18-8798-2B2115D792DE}" dt="2023-10-17T11:47:00.907" v="42" actId="20577"/>
          <ac:spMkLst>
            <pc:docMk/>
            <pc:sldMk cId="753175953" sldId="2056"/>
            <ac:spMk id="2" creationId="{8F3F2941-E7D2-648A-6F21-36480C010AE0}"/>
          </ac:spMkLst>
        </pc:spChg>
        <pc:spChg chg="mod">
          <ac:chgData name="ROBERT Ludovic INNOV/NET" userId="d4e37ed5-b1a2-4614-850e-5d18b625a138" providerId="ADAL" clId="{C47AF026-22D4-4A18-8798-2B2115D792DE}" dt="2023-10-17T11:47:07.850" v="54" actId="20577"/>
          <ac:spMkLst>
            <pc:docMk/>
            <pc:sldMk cId="753175953" sldId="2056"/>
            <ac:spMk id="3" creationId="{403F421F-2D14-EE89-73EB-206BF78C4BA9}"/>
          </ac:spMkLst>
        </pc:spChg>
      </pc:sldChg>
      <pc:sldChg chg="del">
        <pc:chgData name="ROBERT Ludovic INNOV/NET" userId="d4e37ed5-b1a2-4614-850e-5d18b625a138" providerId="ADAL" clId="{C47AF026-22D4-4A18-8798-2B2115D792DE}" dt="2023-10-17T11:45:06.781" v="1" actId="47"/>
        <pc:sldMkLst>
          <pc:docMk/>
          <pc:sldMk cId="2837906062" sldId="2058"/>
        </pc:sldMkLst>
      </pc:sldChg>
      <pc:sldChg chg="delSp del mod">
        <pc:chgData name="ROBERT Ludovic INNOV/NET" userId="d4e37ed5-b1a2-4614-850e-5d18b625a138" providerId="ADAL" clId="{C47AF026-22D4-4A18-8798-2B2115D792DE}" dt="2023-10-17T11:45:32.541" v="6" actId="47"/>
        <pc:sldMkLst>
          <pc:docMk/>
          <pc:sldMk cId="2826687111" sldId="2059"/>
        </pc:sldMkLst>
        <pc:picChg chg="del">
          <ac:chgData name="ROBERT Ludovic INNOV/NET" userId="d4e37ed5-b1a2-4614-850e-5d18b625a138" providerId="ADAL" clId="{C47AF026-22D4-4A18-8798-2B2115D792DE}" dt="2023-10-17T11:45:26.590" v="4" actId="478"/>
          <ac:picMkLst>
            <pc:docMk/>
            <pc:sldMk cId="2826687111" sldId="2059"/>
            <ac:picMk id="4" creationId="{27E64072-48FC-17C5-2867-8E20F22C8410}"/>
          </ac:picMkLst>
        </pc:picChg>
      </pc:sldChg>
      <pc:sldChg chg="del">
        <pc:chgData name="ROBERT Ludovic INNOV/NET" userId="d4e37ed5-b1a2-4614-850e-5d18b625a138" providerId="ADAL" clId="{C47AF026-22D4-4A18-8798-2B2115D792DE}" dt="2023-10-17T11:45:28.710" v="5" actId="47"/>
        <pc:sldMkLst>
          <pc:docMk/>
          <pc:sldMk cId="310258164" sldId="2060"/>
        </pc:sldMkLst>
      </pc:sldChg>
      <pc:sldChg chg="modSp mod">
        <pc:chgData name="ROBERT Ludovic INNOV/NET" userId="d4e37ed5-b1a2-4614-850e-5d18b625a138" providerId="ADAL" clId="{C47AF026-22D4-4A18-8798-2B2115D792DE}" dt="2023-10-17T15:00:56.294" v="2289" actId="20577"/>
        <pc:sldMkLst>
          <pc:docMk/>
          <pc:sldMk cId="1676874433" sldId="2061"/>
        </pc:sldMkLst>
        <pc:spChg chg="mod">
          <ac:chgData name="ROBERT Ludovic INNOV/NET" userId="d4e37ed5-b1a2-4614-850e-5d18b625a138" providerId="ADAL" clId="{C47AF026-22D4-4A18-8798-2B2115D792DE}" dt="2023-10-17T11:47:18.283" v="72" actId="20577"/>
          <ac:spMkLst>
            <pc:docMk/>
            <pc:sldMk cId="1676874433" sldId="2061"/>
            <ac:spMk id="2" creationId="{7D742CC3-DD2D-6F61-D9C9-8DFCE6ADE0FC}"/>
          </ac:spMkLst>
        </pc:spChg>
        <pc:spChg chg="mod">
          <ac:chgData name="ROBERT Ludovic INNOV/NET" userId="d4e37ed5-b1a2-4614-850e-5d18b625a138" providerId="ADAL" clId="{C47AF026-22D4-4A18-8798-2B2115D792DE}" dt="2023-10-17T15:00:56.294" v="2289" actId="20577"/>
          <ac:spMkLst>
            <pc:docMk/>
            <pc:sldMk cId="1676874433" sldId="2061"/>
            <ac:spMk id="3" creationId="{3FD1C390-1E64-EE28-AA13-E1719F974C6F}"/>
          </ac:spMkLst>
        </pc:spChg>
      </pc:sldChg>
      <pc:sldChg chg="modSp add mod">
        <pc:chgData name="ROBERT Ludovic INNOV/NET" userId="d4e37ed5-b1a2-4614-850e-5d18b625a138" providerId="ADAL" clId="{C47AF026-22D4-4A18-8798-2B2115D792DE}" dt="2023-10-17T14:41:52.640" v="2176" actId="948"/>
        <pc:sldMkLst>
          <pc:docMk/>
          <pc:sldMk cId="2676978827" sldId="2062"/>
        </pc:sldMkLst>
        <pc:spChg chg="mod">
          <ac:chgData name="ROBERT Ludovic INNOV/NET" userId="d4e37ed5-b1a2-4614-850e-5d18b625a138" providerId="ADAL" clId="{C47AF026-22D4-4A18-8798-2B2115D792DE}" dt="2023-10-17T12:02:39.235" v="344"/>
          <ac:spMkLst>
            <pc:docMk/>
            <pc:sldMk cId="2676978827" sldId="2062"/>
            <ac:spMk id="2" creationId="{7D742CC3-DD2D-6F61-D9C9-8DFCE6ADE0FC}"/>
          </ac:spMkLst>
        </pc:spChg>
        <pc:spChg chg="mod">
          <ac:chgData name="ROBERT Ludovic INNOV/NET" userId="d4e37ed5-b1a2-4614-850e-5d18b625a138" providerId="ADAL" clId="{C47AF026-22D4-4A18-8798-2B2115D792DE}" dt="2023-10-17T14:41:52.640" v="2176" actId="948"/>
          <ac:spMkLst>
            <pc:docMk/>
            <pc:sldMk cId="2676978827" sldId="2062"/>
            <ac:spMk id="3" creationId="{3FD1C390-1E64-EE28-AA13-E1719F974C6F}"/>
          </ac:spMkLst>
        </pc:spChg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3547509587" sldId="2062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1240438852" sldId="2063"/>
        </pc:sldMkLst>
      </pc:sldChg>
      <pc:sldChg chg="modSp add mod">
        <pc:chgData name="ROBERT Ludovic INNOV/NET" userId="d4e37ed5-b1a2-4614-850e-5d18b625a138" providerId="ADAL" clId="{C47AF026-22D4-4A18-8798-2B2115D792DE}" dt="2023-10-17T14:42:22.762" v="2186" actId="113"/>
        <pc:sldMkLst>
          <pc:docMk/>
          <pc:sldMk cId="3000517658" sldId="2063"/>
        </pc:sldMkLst>
        <pc:spChg chg="mod">
          <ac:chgData name="ROBERT Ludovic INNOV/NET" userId="d4e37ed5-b1a2-4614-850e-5d18b625a138" providerId="ADAL" clId="{C47AF026-22D4-4A18-8798-2B2115D792DE}" dt="2023-10-17T12:59:44.920" v="945" actId="790"/>
          <ac:spMkLst>
            <pc:docMk/>
            <pc:sldMk cId="3000517658" sldId="2063"/>
            <ac:spMk id="2" creationId="{7D742CC3-DD2D-6F61-D9C9-8DFCE6ADE0FC}"/>
          </ac:spMkLst>
        </pc:spChg>
        <pc:spChg chg="mod">
          <ac:chgData name="ROBERT Ludovic INNOV/NET" userId="d4e37ed5-b1a2-4614-850e-5d18b625a138" providerId="ADAL" clId="{C47AF026-22D4-4A18-8798-2B2115D792DE}" dt="2023-10-17T14:42:22.762" v="2186" actId="113"/>
          <ac:spMkLst>
            <pc:docMk/>
            <pc:sldMk cId="3000517658" sldId="2063"/>
            <ac:spMk id="3" creationId="{3FD1C390-1E64-EE28-AA13-E1719F974C6F}"/>
          </ac:spMkLst>
        </pc:spChg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1281953167" sldId="2064"/>
        </pc:sldMkLst>
      </pc:sldChg>
      <pc:sldChg chg="addSp delSp modSp add mod">
        <pc:chgData name="ROBERT Ludovic INNOV/NET" userId="d4e37ed5-b1a2-4614-850e-5d18b625a138" providerId="ADAL" clId="{C47AF026-22D4-4A18-8798-2B2115D792DE}" dt="2023-10-17T14:43:09.039" v="2228" actId="20577"/>
        <pc:sldMkLst>
          <pc:docMk/>
          <pc:sldMk cId="3921125899" sldId="2064"/>
        </pc:sldMkLst>
        <pc:spChg chg="mod">
          <ac:chgData name="ROBERT Ludovic INNOV/NET" userId="d4e37ed5-b1a2-4614-850e-5d18b625a138" providerId="ADAL" clId="{C47AF026-22D4-4A18-8798-2B2115D792DE}" dt="2023-10-17T13:09:42.937" v="1232" actId="313"/>
          <ac:spMkLst>
            <pc:docMk/>
            <pc:sldMk cId="3921125899" sldId="2064"/>
            <ac:spMk id="2" creationId="{7D742CC3-DD2D-6F61-D9C9-8DFCE6ADE0FC}"/>
          </ac:spMkLst>
        </pc:spChg>
        <pc:spChg chg="mod">
          <ac:chgData name="ROBERT Ludovic INNOV/NET" userId="d4e37ed5-b1a2-4614-850e-5d18b625a138" providerId="ADAL" clId="{C47AF026-22D4-4A18-8798-2B2115D792DE}" dt="2023-10-17T14:43:09.039" v="2228" actId="20577"/>
          <ac:spMkLst>
            <pc:docMk/>
            <pc:sldMk cId="3921125899" sldId="2064"/>
            <ac:spMk id="3" creationId="{3FD1C390-1E64-EE28-AA13-E1719F974C6F}"/>
          </ac:spMkLst>
        </pc:spChg>
        <pc:spChg chg="add del">
          <ac:chgData name="ROBERT Ludovic INNOV/NET" userId="d4e37ed5-b1a2-4614-850e-5d18b625a138" providerId="ADAL" clId="{C47AF026-22D4-4A18-8798-2B2115D792DE}" dt="2023-10-17T13:08:39.616" v="1224" actId="478"/>
          <ac:spMkLst>
            <pc:docMk/>
            <pc:sldMk cId="3921125899" sldId="2064"/>
            <ac:spMk id="5" creationId="{499D53C2-82D1-B4CE-527F-AF5C9603C75D}"/>
          </ac:spMkLst>
        </pc:spChg>
        <pc:spChg chg="add del mod">
          <ac:chgData name="ROBERT Ludovic INNOV/NET" userId="d4e37ed5-b1a2-4614-850e-5d18b625a138" providerId="ADAL" clId="{C47AF026-22D4-4A18-8798-2B2115D792DE}" dt="2023-10-17T13:08:31.885" v="1219" actId="478"/>
          <ac:spMkLst>
            <pc:docMk/>
            <pc:sldMk cId="3921125899" sldId="2064"/>
            <ac:spMk id="6" creationId="{5CCEC040-079B-A558-4304-E65EB1304217}"/>
          </ac:spMkLst>
        </pc:spChg>
        <pc:spChg chg="add del mod">
          <ac:chgData name="ROBERT Ludovic INNOV/NET" userId="d4e37ed5-b1a2-4614-850e-5d18b625a138" providerId="ADAL" clId="{C47AF026-22D4-4A18-8798-2B2115D792DE}" dt="2023-10-17T13:08:35.176" v="1221" actId="478"/>
          <ac:spMkLst>
            <pc:docMk/>
            <pc:sldMk cId="3921125899" sldId="2064"/>
            <ac:spMk id="7" creationId="{D82FFC8A-4CFE-4894-D99A-D09DA004815A}"/>
          </ac:spMkLst>
        </pc:spChg>
        <pc:spChg chg="add del mod">
          <ac:chgData name="ROBERT Ludovic INNOV/NET" userId="d4e37ed5-b1a2-4614-850e-5d18b625a138" providerId="ADAL" clId="{C47AF026-22D4-4A18-8798-2B2115D792DE}" dt="2023-10-17T13:08:38.045" v="1223" actId="478"/>
          <ac:spMkLst>
            <pc:docMk/>
            <pc:sldMk cId="3921125899" sldId="2064"/>
            <ac:spMk id="8" creationId="{9B4D3633-9CB7-0D21-0969-7007091F5EA1}"/>
          </ac:spMkLst>
        </pc:spChg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1331663379" sldId="2065"/>
        </pc:sldMkLst>
      </pc:sldChg>
      <pc:sldChg chg="modSp add mod">
        <pc:chgData name="ROBERT Ludovic INNOV/NET" userId="d4e37ed5-b1a2-4614-850e-5d18b625a138" providerId="ADAL" clId="{C47AF026-22D4-4A18-8798-2B2115D792DE}" dt="2023-10-17T13:38:03.223" v="1814"/>
        <pc:sldMkLst>
          <pc:docMk/>
          <pc:sldMk cId="2073341874" sldId="2065"/>
        </pc:sldMkLst>
        <pc:spChg chg="mod">
          <ac:chgData name="ROBERT Ludovic INNOV/NET" userId="d4e37ed5-b1a2-4614-850e-5d18b625a138" providerId="ADAL" clId="{C47AF026-22D4-4A18-8798-2B2115D792DE}" dt="2023-10-17T13:10:08.388" v="1244" actId="20577"/>
          <ac:spMkLst>
            <pc:docMk/>
            <pc:sldMk cId="2073341874" sldId="2065"/>
            <ac:spMk id="2" creationId="{7D742CC3-DD2D-6F61-D9C9-8DFCE6ADE0FC}"/>
          </ac:spMkLst>
        </pc:spChg>
        <pc:spChg chg="mod">
          <ac:chgData name="ROBERT Ludovic INNOV/NET" userId="d4e37ed5-b1a2-4614-850e-5d18b625a138" providerId="ADAL" clId="{C47AF026-22D4-4A18-8798-2B2115D792DE}" dt="2023-10-17T13:38:03.223" v="1814"/>
          <ac:spMkLst>
            <pc:docMk/>
            <pc:sldMk cId="2073341874" sldId="2065"/>
            <ac:spMk id="3" creationId="{3FD1C390-1E64-EE28-AA13-E1719F974C6F}"/>
          </ac:spMkLst>
        </pc:spChg>
      </pc:sldChg>
      <pc:sldChg chg="addSp modSp add mod">
        <pc:chgData name="ROBERT Ludovic INNOV/NET" userId="d4e37ed5-b1a2-4614-850e-5d18b625a138" providerId="ADAL" clId="{C47AF026-22D4-4A18-8798-2B2115D792DE}" dt="2023-10-17T14:45:50.275" v="2250" actId="255"/>
        <pc:sldMkLst>
          <pc:docMk/>
          <pc:sldMk cId="1251385256" sldId="2066"/>
        </pc:sldMkLst>
        <pc:spChg chg="mod">
          <ac:chgData name="ROBERT Ludovic INNOV/NET" userId="d4e37ed5-b1a2-4614-850e-5d18b625a138" providerId="ADAL" clId="{C47AF026-22D4-4A18-8798-2B2115D792DE}" dt="2023-10-17T14:45:50.275" v="2250" actId="255"/>
          <ac:spMkLst>
            <pc:docMk/>
            <pc:sldMk cId="1251385256" sldId="2066"/>
            <ac:spMk id="3" creationId="{3FD1C390-1E64-EE28-AA13-E1719F974C6F}"/>
          </ac:spMkLst>
        </pc:spChg>
        <pc:spChg chg="add mod">
          <ac:chgData name="ROBERT Ludovic INNOV/NET" userId="d4e37ed5-b1a2-4614-850e-5d18b625a138" providerId="ADAL" clId="{C47AF026-22D4-4A18-8798-2B2115D792DE}" dt="2023-10-17T14:10:38.893" v="2116" actId="20577"/>
          <ac:spMkLst>
            <pc:docMk/>
            <pc:sldMk cId="1251385256" sldId="2066"/>
            <ac:spMk id="5" creationId="{4CCA1094-4BD2-0AA2-A9B7-E70EECD0EB08}"/>
          </ac:spMkLst>
        </pc:spChg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1414803149" sldId="2066"/>
        </pc:sldMkLst>
      </pc:sldChg>
      <pc:sldChg chg="modSp add mod">
        <pc:chgData name="ROBERT Ludovic INNOV/NET" userId="d4e37ed5-b1a2-4614-850e-5d18b625a138" providerId="ADAL" clId="{C47AF026-22D4-4A18-8798-2B2115D792DE}" dt="2023-10-17T15:14:31.760" v="2586" actId="20577"/>
        <pc:sldMkLst>
          <pc:docMk/>
          <pc:sldMk cId="3119026773" sldId="2067"/>
        </pc:sldMkLst>
        <pc:spChg chg="mod">
          <ac:chgData name="ROBERT Ludovic INNOV/NET" userId="d4e37ed5-b1a2-4614-850e-5d18b625a138" providerId="ADAL" clId="{C47AF026-22D4-4A18-8798-2B2115D792DE}" dt="2023-10-17T15:01:30.794" v="2292"/>
          <ac:spMkLst>
            <pc:docMk/>
            <pc:sldMk cId="3119026773" sldId="2067"/>
            <ac:spMk id="2" creationId="{7D742CC3-DD2D-6F61-D9C9-8DFCE6ADE0FC}"/>
          </ac:spMkLst>
        </pc:spChg>
        <pc:spChg chg="mod">
          <ac:chgData name="ROBERT Ludovic INNOV/NET" userId="d4e37ed5-b1a2-4614-850e-5d18b625a138" providerId="ADAL" clId="{C47AF026-22D4-4A18-8798-2B2115D792DE}" dt="2023-10-17T15:14:31.760" v="2586" actId="20577"/>
          <ac:spMkLst>
            <pc:docMk/>
            <pc:sldMk cId="3119026773" sldId="2067"/>
            <ac:spMk id="3" creationId="{3FD1C390-1E64-EE28-AA13-E1719F974C6F}"/>
          </ac:spMkLst>
        </pc:spChg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3837931018" sldId="2067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589521742" sldId="2068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2475544765" sldId="2069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2879131641" sldId="2070"/>
        </pc:sldMkLst>
      </pc:sldChg>
      <pc:sldChg chg="del">
        <pc:chgData name="ROBERT Ludovic INNOV/NET" userId="d4e37ed5-b1a2-4614-850e-5d18b625a138" providerId="ADAL" clId="{C47AF026-22D4-4A18-8798-2B2115D792DE}" dt="2023-10-17T11:45:02.587" v="0" actId="47"/>
        <pc:sldMkLst>
          <pc:docMk/>
          <pc:sldMk cId="1596432086" sldId="2071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2341001669" sldId="2072"/>
        </pc:sldMkLst>
      </pc:sldChg>
      <pc:sldChg chg="del">
        <pc:chgData name="ROBERT Ludovic INNOV/NET" userId="d4e37ed5-b1a2-4614-850e-5d18b625a138" providerId="ADAL" clId="{C47AF026-22D4-4A18-8798-2B2115D792DE}" dt="2023-10-17T11:45:24.939" v="3" actId="47"/>
        <pc:sldMkLst>
          <pc:docMk/>
          <pc:sldMk cId="543694237" sldId="2073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1782414986" sldId="2074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3203642395" sldId="2075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2111237129" sldId="2076"/>
        </pc:sldMkLst>
      </pc:sldChg>
      <pc:sldChg chg="del">
        <pc:chgData name="ROBERT Ludovic INNOV/NET" userId="d4e37ed5-b1a2-4614-850e-5d18b625a138" providerId="ADAL" clId="{C47AF026-22D4-4A18-8798-2B2115D792DE}" dt="2023-10-17T11:45:38.618" v="7" actId="47"/>
        <pc:sldMkLst>
          <pc:docMk/>
          <pc:sldMk cId="1195843399" sldId="2077"/>
        </pc:sldMkLst>
      </pc:sldChg>
      <pc:sldMasterChg chg="delSp modSp mod">
        <pc:chgData name="ROBERT Ludovic INNOV/NET" userId="d4e37ed5-b1a2-4614-850e-5d18b625a138" providerId="ADAL" clId="{C47AF026-22D4-4A18-8798-2B2115D792DE}" dt="2023-10-17T13:16:40.889" v="1615" actId="33475"/>
        <pc:sldMasterMkLst>
          <pc:docMk/>
          <pc:sldMasterMk cId="792883523" sldId="2147483648"/>
        </pc:sldMasterMkLst>
        <pc:spChg chg="del mod">
          <ac:chgData name="ROBERT Ludovic INNOV/NET" userId="d4e37ed5-b1a2-4614-850e-5d18b625a138" providerId="ADAL" clId="{C47AF026-22D4-4A18-8798-2B2115D792DE}" dt="2023-10-17T13:16:40.889" v="1615" actId="33475"/>
          <ac:spMkLst>
            <pc:docMk/>
            <pc:sldMasterMk cId="792883523" sldId="2147483648"/>
            <ac:spMk id="5" creationId="{B4662C16-742D-21E9-CA50-48E78DD58809}"/>
          </ac:spMkLst>
        </pc:spChg>
      </pc:sldMasterChg>
    </pc:docChg>
  </pc:docChgLst>
  <pc:docChgLst>
    <pc:chgData name="ROBERT Ludovic INNOV/NET" userId="d4e37ed5-b1a2-4614-850e-5d18b625a138" providerId="ADAL" clId="{746B20C8-A752-4797-891A-7D2D976FB160}"/>
    <pc:docChg chg="custSel addSld modSld sldOrd modSection">
      <pc:chgData name="ROBERT Ludovic INNOV/NET" userId="d4e37ed5-b1a2-4614-850e-5d18b625a138" providerId="ADAL" clId="{746B20C8-A752-4797-891A-7D2D976FB160}" dt="2023-10-19T14:54:46.984" v="329" actId="313"/>
      <pc:docMkLst>
        <pc:docMk/>
      </pc:docMkLst>
      <pc:sldChg chg="modSp">
        <pc:chgData name="ROBERT Ludovic INNOV/NET" userId="d4e37ed5-b1a2-4614-850e-5d18b625a138" providerId="ADAL" clId="{746B20C8-A752-4797-891A-7D2D976FB160}" dt="2023-10-19T13:39:03.403" v="142" actId="20578"/>
        <pc:sldMkLst>
          <pc:docMk/>
          <pc:sldMk cId="1676874433" sldId="2061"/>
        </pc:sldMkLst>
        <pc:spChg chg="mod">
          <ac:chgData name="ROBERT Ludovic INNOV/NET" userId="d4e37ed5-b1a2-4614-850e-5d18b625a138" providerId="ADAL" clId="{746B20C8-A752-4797-891A-7D2D976FB160}" dt="2023-10-19T13:39:03.403" v="142" actId="20578"/>
          <ac:spMkLst>
            <pc:docMk/>
            <pc:sldMk cId="1676874433" sldId="2061"/>
            <ac:spMk id="3" creationId="{3FD1C390-1E64-EE28-AA13-E1719F974C6F}"/>
          </ac:spMkLst>
        </pc:spChg>
      </pc:sldChg>
      <pc:sldChg chg="ord">
        <pc:chgData name="ROBERT Ludovic INNOV/NET" userId="d4e37ed5-b1a2-4614-850e-5d18b625a138" providerId="ADAL" clId="{746B20C8-A752-4797-891A-7D2D976FB160}" dt="2023-10-19T13:38:44.071" v="139"/>
        <pc:sldMkLst>
          <pc:docMk/>
          <pc:sldMk cId="3921125899" sldId="2064"/>
        </pc:sldMkLst>
      </pc:sldChg>
      <pc:sldChg chg="modSp mod">
        <pc:chgData name="ROBERT Ludovic INNOV/NET" userId="d4e37ed5-b1a2-4614-850e-5d18b625a138" providerId="ADAL" clId="{746B20C8-A752-4797-891A-7D2D976FB160}" dt="2023-10-19T14:54:46.984" v="329" actId="313"/>
        <pc:sldMkLst>
          <pc:docMk/>
          <pc:sldMk cId="2073341874" sldId="2065"/>
        </pc:sldMkLst>
        <pc:spChg chg="mod">
          <ac:chgData name="ROBERT Ludovic INNOV/NET" userId="d4e37ed5-b1a2-4614-850e-5d18b625a138" providerId="ADAL" clId="{746B20C8-A752-4797-891A-7D2D976FB160}" dt="2023-10-19T14:54:46.984" v="329" actId="313"/>
          <ac:spMkLst>
            <pc:docMk/>
            <pc:sldMk cId="2073341874" sldId="2065"/>
            <ac:spMk id="3" creationId="{3FD1C390-1E64-EE28-AA13-E1719F974C6F}"/>
          </ac:spMkLst>
        </pc:spChg>
      </pc:sldChg>
      <pc:sldChg chg="addSp delSp modSp new mod ord">
        <pc:chgData name="ROBERT Ludovic INNOV/NET" userId="d4e37ed5-b1a2-4614-850e-5d18b625a138" providerId="ADAL" clId="{746B20C8-A752-4797-891A-7D2D976FB160}" dt="2023-10-19T13:38:52.994" v="141"/>
        <pc:sldMkLst>
          <pc:docMk/>
          <pc:sldMk cId="1091853058" sldId="2068"/>
        </pc:sldMkLst>
        <pc:spChg chg="mod">
          <ac:chgData name="ROBERT Ludovic INNOV/NET" userId="d4e37ed5-b1a2-4614-850e-5d18b625a138" providerId="ADAL" clId="{746B20C8-A752-4797-891A-7D2D976FB160}" dt="2023-10-19T13:37:35.237" v="109" actId="20577"/>
          <ac:spMkLst>
            <pc:docMk/>
            <pc:sldMk cId="1091853058" sldId="2068"/>
            <ac:spMk id="2" creationId="{EBB1F4C0-9709-4303-C04C-8B6A695C11D3}"/>
          </ac:spMkLst>
        </pc:spChg>
        <pc:spChg chg="del">
          <ac:chgData name="ROBERT Ludovic INNOV/NET" userId="d4e37ed5-b1a2-4614-850e-5d18b625a138" providerId="ADAL" clId="{746B20C8-A752-4797-891A-7D2D976FB160}" dt="2023-10-19T13:28:48.185" v="28" actId="478"/>
          <ac:spMkLst>
            <pc:docMk/>
            <pc:sldMk cId="1091853058" sldId="2068"/>
            <ac:spMk id="3" creationId="{7C9D33E9-24E2-F38C-5C8B-E2E3EA179787}"/>
          </ac:spMkLst>
        </pc:spChg>
        <pc:spChg chg="add mod">
          <ac:chgData name="ROBERT Ludovic INNOV/NET" userId="d4e37ed5-b1a2-4614-850e-5d18b625a138" providerId="ADAL" clId="{746B20C8-A752-4797-891A-7D2D976FB160}" dt="2023-10-19T13:28:50.400" v="29" actId="1076"/>
          <ac:spMkLst>
            <pc:docMk/>
            <pc:sldMk cId="1091853058" sldId="2068"/>
            <ac:spMk id="4" creationId="{F9EB3C6A-EDE9-E369-7227-EAC68C50BE59}"/>
          </ac:spMkLst>
        </pc:spChg>
        <pc:spChg chg="add mod">
          <ac:chgData name="ROBERT Ludovic INNOV/NET" userId="d4e37ed5-b1a2-4614-850e-5d18b625a138" providerId="ADAL" clId="{746B20C8-A752-4797-891A-7D2D976FB160}" dt="2023-10-19T13:37:42.679" v="110" actId="207"/>
          <ac:spMkLst>
            <pc:docMk/>
            <pc:sldMk cId="1091853058" sldId="2068"/>
            <ac:spMk id="5" creationId="{9BD6B386-5420-C0C2-7269-3D308BE64E4C}"/>
          </ac:spMkLst>
        </pc:spChg>
        <pc:spChg chg="add mod">
          <ac:chgData name="ROBERT Ludovic INNOV/NET" userId="d4e37ed5-b1a2-4614-850e-5d18b625a138" providerId="ADAL" clId="{746B20C8-A752-4797-891A-7D2D976FB160}" dt="2023-10-19T13:37:42.679" v="110" actId="207"/>
          <ac:spMkLst>
            <pc:docMk/>
            <pc:sldMk cId="1091853058" sldId="2068"/>
            <ac:spMk id="6" creationId="{9DF56625-E626-D75A-73C3-676317800656}"/>
          </ac:spMkLst>
        </pc:spChg>
        <pc:spChg chg="add mod">
          <ac:chgData name="ROBERT Ludovic INNOV/NET" userId="d4e37ed5-b1a2-4614-850e-5d18b625a138" providerId="ADAL" clId="{746B20C8-A752-4797-891A-7D2D976FB160}" dt="2023-10-19T13:29:45.025" v="79" actId="20577"/>
          <ac:spMkLst>
            <pc:docMk/>
            <pc:sldMk cId="1091853058" sldId="2068"/>
            <ac:spMk id="7" creationId="{0D2B0AFC-E3F7-7CC3-D5DE-31E3C24B28D6}"/>
          </ac:spMkLst>
        </pc:spChg>
        <pc:spChg chg="add mod">
          <ac:chgData name="ROBERT Ludovic INNOV/NET" userId="d4e37ed5-b1a2-4614-850e-5d18b625a138" providerId="ADAL" clId="{746B20C8-A752-4797-891A-7D2D976FB160}" dt="2023-10-19T13:30:41.343" v="92" actId="20577"/>
          <ac:spMkLst>
            <pc:docMk/>
            <pc:sldMk cId="1091853058" sldId="2068"/>
            <ac:spMk id="10" creationId="{77484D37-6DAB-0483-506A-7CE5C64D3C0C}"/>
          </ac:spMkLst>
        </pc:spChg>
        <pc:spChg chg="add mod">
          <ac:chgData name="ROBERT Ludovic INNOV/NET" userId="d4e37ed5-b1a2-4614-850e-5d18b625a138" providerId="ADAL" clId="{746B20C8-A752-4797-891A-7D2D976FB160}" dt="2023-10-19T13:38:08.146" v="135" actId="1076"/>
          <ac:spMkLst>
            <pc:docMk/>
            <pc:sldMk cId="1091853058" sldId="2068"/>
            <ac:spMk id="13" creationId="{84F38307-7906-225C-41F4-731F681E55FF}"/>
          </ac:spMkLst>
        </pc:spChg>
        <pc:picChg chg="add mod">
          <ac:chgData name="ROBERT Ludovic INNOV/NET" userId="d4e37ed5-b1a2-4614-850e-5d18b625a138" providerId="ADAL" clId="{746B20C8-A752-4797-891A-7D2D976FB160}" dt="2023-10-19T13:30:25.208" v="81" actId="1076"/>
          <ac:picMkLst>
            <pc:docMk/>
            <pc:sldMk cId="1091853058" sldId="2068"/>
            <ac:picMk id="9" creationId="{0EA824EE-57C9-10DA-5482-308011F0AFEF}"/>
          </ac:picMkLst>
        </pc:picChg>
        <pc:picChg chg="add mod">
          <ac:chgData name="ROBERT Ludovic INNOV/NET" userId="d4e37ed5-b1a2-4614-850e-5d18b625a138" providerId="ADAL" clId="{746B20C8-A752-4797-891A-7D2D976FB160}" dt="2023-10-19T13:32:00.131" v="94" actId="1076"/>
          <ac:picMkLst>
            <pc:docMk/>
            <pc:sldMk cId="1091853058" sldId="2068"/>
            <ac:picMk id="12" creationId="{B07F90C8-EAF3-7C4D-1604-8CC5D757C06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19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N°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hyperlink" Target="https://github.com/camaraproject/Commonalities/issues/67" TargetMode="Externa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hyperlink" Target="https://github.com/camaraproject/Commonalities/blob/main/documentation/Camara_Versioning_Guidelines.md" TargetMode="External"/><Relationship Id="rId5" Type="http://schemas.openxmlformats.org/officeDocument/2006/relationships/hyperlink" Target="https://github.com/camaraproject/Commonalities/issues/60" TargetMode="Externa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hyperlink" Target="https://github.com/camaraproject/Commonalities/issues/36" TargetMode="Externa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hyperlink" Target="https://github.com/camaraproject/Commonalities/issues/66" TargetMode="Externa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hyperlink" Target="https://github.com/camaraproject/Commonalities/issues/12" TargetMode="Externa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hyperlink" Target="https://github.com/camaraproject/Commonalities/issues/63#issuecomment-1729293667" TargetMode="Externa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hyperlink" Target="https://github.com/camaraproject/Governance/issues/95" TargetMode="Externa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3F2941-E7D2-648A-6F21-36480C010A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/>
          <a:lstStyle/>
          <a:p>
            <a:r>
              <a:rPr lang="en-US" dirty="0"/>
              <a:t>Release Management</a:t>
            </a:r>
          </a:p>
          <a:p>
            <a:r>
              <a:rPr lang="en-US" dirty="0"/>
              <a:t>TSC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3F421F-2D14-EE89-73EB-206BF78C4B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24304" y="5484422"/>
            <a:ext cx="8886496" cy="303416"/>
          </a:xfrm>
        </p:spPr>
        <p:txBody>
          <a:bodyPr/>
          <a:lstStyle/>
          <a:p>
            <a:r>
              <a:rPr lang="de-DE" dirty="0" err="1"/>
              <a:t>October</a:t>
            </a:r>
            <a:r>
              <a:rPr lang="de-DE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753175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D8D9F914-18E6-0BD9-797F-82036E2B49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5035" y="2661824"/>
            <a:ext cx="6032004" cy="116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345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15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>
                <a:latin typeface="Montserrat Light" panose="00000400000000000000" pitchFamily="2" charset="0"/>
              </a:rPr>
              <a:t>As listed in </a:t>
            </a:r>
            <a:r>
              <a:rPr lang="en-US" sz="2400" dirty="0">
                <a:latin typeface="Montserrat Light" panose="00000400000000000000" pitchFamily="2" charset="0"/>
                <a:hlinkClick r:id="rId5"/>
              </a:rPr>
              <a:t>Consolidation Issue for open points release management · Issue #67 · camaraproject/Commonalities (github.com)</a:t>
            </a:r>
            <a:r>
              <a:rPr lang="en-US" sz="2400" dirty="0">
                <a:latin typeface="Montserrat Light" panose="00000400000000000000" pitchFamily="2" charset="0"/>
              </a:rPr>
              <a:t> several issues are pending on release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 Light" panose="00000400000000000000" pitchFamily="2" charset="0"/>
              </a:rPr>
              <a:t>CAMARA API family rele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 Light" panose="00000400000000000000" pitchFamily="2" charset="0"/>
              </a:rPr>
              <a:t>CAMARA API versio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 Light" panose="00000400000000000000" pitchFamily="2" charset="0"/>
              </a:rPr>
              <a:t>CAMARA release bran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 Light" panose="00000400000000000000" pitchFamily="2" charset="0"/>
              </a:rPr>
              <a:t>Readiness Check List adju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 Light" panose="00000400000000000000" pitchFamily="2" charset="0"/>
              </a:rPr>
              <a:t>Management of CAMARA conformance</a:t>
            </a:r>
          </a:p>
          <a:p>
            <a:endParaRPr lang="de-DE" sz="2400" dirty="0">
              <a:latin typeface="Montserrat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874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B1F4C0-9709-4303-C04C-8B6A695C1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oday</a:t>
            </a:r>
            <a:r>
              <a:rPr lang="fr-FR" dirty="0"/>
              <a:t> Situ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EB3C6A-EDE9-E369-7227-EAC68C50BE59}"/>
              </a:ext>
            </a:extLst>
          </p:cNvPr>
          <p:cNvSpPr/>
          <p:nvPr/>
        </p:nvSpPr>
        <p:spPr>
          <a:xfrm>
            <a:off x="1343025" y="2419853"/>
            <a:ext cx="2914650" cy="784516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MARA Releas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D6B386-5420-C0C2-7269-3D308BE64E4C}"/>
              </a:ext>
            </a:extLst>
          </p:cNvPr>
          <p:cNvSpPr/>
          <p:nvPr/>
        </p:nvSpPr>
        <p:spPr>
          <a:xfrm>
            <a:off x="3286125" y="3642038"/>
            <a:ext cx="2914650" cy="784516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Family Release</a:t>
            </a:r>
          </a:p>
          <a:p>
            <a:pPr algn="ctr"/>
            <a:r>
              <a:rPr lang="fr-FR" dirty="0">
                <a:solidFill>
                  <a:schemeClr val="tx1"/>
                </a:solidFill>
              </a:rPr>
              <a:t>V </a:t>
            </a:r>
            <a:r>
              <a:rPr lang="fr-FR" dirty="0" err="1">
                <a:solidFill>
                  <a:schemeClr val="tx1"/>
                </a:solidFill>
              </a:rPr>
              <a:t>x.y.z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F56625-E626-D75A-73C3-676317800656}"/>
              </a:ext>
            </a:extLst>
          </p:cNvPr>
          <p:cNvSpPr/>
          <p:nvPr/>
        </p:nvSpPr>
        <p:spPr>
          <a:xfrm>
            <a:off x="4648200" y="4864223"/>
            <a:ext cx="2914650" cy="784516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API</a:t>
            </a:r>
          </a:p>
          <a:p>
            <a:pPr algn="ctr"/>
            <a:r>
              <a:rPr lang="fr-FR" dirty="0">
                <a:solidFill>
                  <a:schemeClr val="tx1"/>
                </a:solidFill>
              </a:rPr>
              <a:t>V </a:t>
            </a:r>
            <a:r>
              <a:rPr lang="fr-FR" dirty="0" err="1">
                <a:solidFill>
                  <a:schemeClr val="tx1"/>
                </a:solidFill>
              </a:rPr>
              <a:t>x.y.z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D2B0AFC-E3F7-7CC3-D5DE-31E3C24B28D6}"/>
              </a:ext>
            </a:extLst>
          </p:cNvPr>
          <p:cNvSpPr txBox="1"/>
          <p:nvPr/>
        </p:nvSpPr>
        <p:spPr>
          <a:xfrm>
            <a:off x="6886575" y="3848100"/>
            <a:ext cx="2198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: </a:t>
            </a:r>
            <a:r>
              <a:rPr lang="fr-FR" dirty="0" err="1"/>
              <a:t>GITHub</a:t>
            </a:r>
            <a:r>
              <a:rPr lang="fr-FR" dirty="0"/>
              <a:t> repository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EA824EE-57C9-10DA-5482-308011F0AF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5762" y="3389828"/>
            <a:ext cx="1790700" cy="1285875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77484D37-6DAB-0483-506A-7CE5C64D3C0C}"/>
              </a:ext>
            </a:extLst>
          </p:cNvPr>
          <p:cNvSpPr txBox="1"/>
          <p:nvPr/>
        </p:nvSpPr>
        <p:spPr>
          <a:xfrm>
            <a:off x="7667625" y="4985427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: in </a:t>
            </a:r>
            <a:r>
              <a:rPr lang="fr-FR" dirty="0" err="1"/>
              <a:t>yaml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07F90C8-EAF3-7C4D-1604-8CC5D757C0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16276" y="4985427"/>
            <a:ext cx="2676525" cy="87630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84F38307-7906-225C-41F4-731F681E55FF}"/>
              </a:ext>
            </a:extLst>
          </p:cNvPr>
          <p:cNvSpPr txBox="1"/>
          <p:nvPr/>
        </p:nvSpPr>
        <p:spPr>
          <a:xfrm>
            <a:off x="416429" y="5840953"/>
            <a:ext cx="28696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 err="1"/>
              <a:t>What</a:t>
            </a:r>
            <a:r>
              <a:rPr lang="fr-FR" sz="2400" dirty="0"/>
              <a:t> </a:t>
            </a:r>
            <a:r>
              <a:rPr lang="fr-FR" sz="2400" dirty="0" err="1"/>
              <a:t>is</a:t>
            </a:r>
            <a:r>
              <a:rPr lang="fr-FR" sz="2400" dirty="0"/>
              <a:t> </a:t>
            </a:r>
            <a:r>
              <a:rPr lang="fr-FR" sz="2400" dirty="0" err="1"/>
              <a:t>our</a:t>
            </a:r>
            <a:r>
              <a:rPr lang="fr-FR" sz="2400" dirty="0"/>
              <a:t> </a:t>
            </a:r>
            <a:r>
              <a:rPr lang="fr-FR" sz="2400" dirty="0" err="1"/>
              <a:t>target</a:t>
            </a:r>
            <a:r>
              <a:rPr lang="fr-FR" sz="2400" dirty="0"/>
              <a:t> ?</a:t>
            </a:r>
          </a:p>
        </p:txBody>
      </p:sp>
    </p:spTree>
    <p:extLst>
      <p:ext uri="{BB962C8B-B14F-4D97-AF65-F5344CB8AC3E}">
        <p14:creationId xmlns:p14="http://schemas.microsoft.com/office/powerpoint/2010/main" val="1091853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AMARA </a:t>
            </a:r>
            <a:r>
              <a:rPr lang="en-US" sz="2800" dirty="0"/>
              <a:t>API family releas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sz="2000" b="1" dirty="0"/>
              <a:t>Problem statement:  </a:t>
            </a:r>
            <a:r>
              <a:rPr lang="en-GB" sz="2000" dirty="0"/>
              <a:t>how to manage release management at the </a:t>
            </a:r>
            <a:r>
              <a:rPr lang="en-GB" sz="2000" b="1" dirty="0"/>
              <a:t>family level</a:t>
            </a:r>
            <a:r>
              <a:rPr lang="en-GB" sz="2000" dirty="0"/>
              <a:t>. (source </a:t>
            </a:r>
            <a:r>
              <a:rPr lang="en-US" sz="2000" dirty="0">
                <a:hlinkClick r:id="rId5"/>
              </a:rPr>
              <a:t>How to manage version for an API family release · Issue #60 · camaraproject/Commonalities (github.com)</a:t>
            </a:r>
            <a:r>
              <a:rPr lang="en-US" sz="2000" dirty="0"/>
              <a:t>)</a:t>
            </a:r>
          </a:p>
          <a:p>
            <a:endParaRPr lang="en-GB" sz="1400" dirty="0"/>
          </a:p>
          <a:p>
            <a:pPr>
              <a:spcBef>
                <a:spcPts val="0"/>
              </a:spcBef>
            </a:pPr>
            <a:r>
              <a:rPr lang="en-GB" sz="2000" b="1" dirty="0"/>
              <a:t>Current Situation</a:t>
            </a:r>
            <a:r>
              <a:rPr lang="en-GB" sz="2000" dirty="0"/>
              <a:t>: In edge Cloud API Family there is a release tag </a:t>
            </a:r>
            <a:r>
              <a:rPr lang="en-US" sz="2000" dirty="0"/>
              <a:t>"Family Name - </a:t>
            </a:r>
            <a:r>
              <a:rPr lang="en-US" sz="2000" dirty="0" err="1"/>
              <a:t>vx.y.z</a:t>
            </a:r>
            <a:r>
              <a:rPr lang="en-US" sz="2000" dirty="0"/>
              <a:t>“ (aligned with </a:t>
            </a:r>
            <a:r>
              <a:rPr lang="fr-FR" sz="2000" dirty="0">
                <a:hlinkClick r:id="rId6"/>
              </a:rPr>
              <a:t>Commonalities/documentation/Camara_Versioning_Guidelines.md at main · camaraproject/</a:t>
            </a:r>
            <a:r>
              <a:rPr lang="fr-FR" sz="2000" dirty="0" err="1">
                <a:hlinkClick r:id="rId6"/>
              </a:rPr>
              <a:t>Commonalities</a:t>
            </a:r>
            <a:r>
              <a:rPr lang="fr-FR" sz="2000" dirty="0">
                <a:hlinkClick r:id="rId6"/>
              </a:rPr>
              <a:t> (github.com)</a:t>
            </a:r>
            <a:endParaRPr lang="fr-FR" sz="2000" dirty="0"/>
          </a:p>
          <a:p>
            <a:endParaRPr lang="en-US" sz="1050" dirty="0"/>
          </a:p>
          <a:p>
            <a:r>
              <a:rPr lang="en-US" sz="2000" b="1" dirty="0"/>
              <a:t>Points to discuss: 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Are we happy with this template? 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or do we want to move to a friendlier API family release name as year-month?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676978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MARA API Versio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594592"/>
          </a:xfrm>
        </p:spPr>
        <p:txBody>
          <a:bodyPr/>
          <a:lstStyle/>
          <a:p>
            <a:r>
              <a:rPr lang="en-US" sz="2000" b="1" dirty="0"/>
              <a:t>Problem statement: </a:t>
            </a:r>
            <a:r>
              <a:rPr lang="en-US" sz="2000" dirty="0"/>
              <a:t>Consider including Alpha and Beta labels to API versions - source (</a:t>
            </a:r>
            <a:r>
              <a:rPr lang="en-US" sz="1600" dirty="0">
                <a:hlinkClick r:id="rId5"/>
              </a:rPr>
              <a:t>Consider including Alpha and Beta labels to API versions · Issue #36 · camaraproject/Commonalities (github.com)</a:t>
            </a:r>
            <a:r>
              <a:rPr lang="en-US" sz="1400" dirty="0"/>
              <a:t>)</a:t>
            </a:r>
          </a:p>
          <a:p>
            <a:pPr algn="l"/>
            <a:r>
              <a:rPr lang="en-US" sz="2000" b="1" dirty="0"/>
              <a:t>Proposal</a:t>
            </a:r>
            <a:r>
              <a:rPr lang="en-US" sz="2000" dirty="0"/>
              <a:t>: (</a:t>
            </a:r>
            <a:r>
              <a:rPr lang="en-US" sz="1600" dirty="0"/>
              <a:t>Randy </a:t>
            </a:r>
            <a:r>
              <a:rPr lang="en-US" sz="1600" dirty="0" err="1"/>
              <a:t>Levensalor</a:t>
            </a:r>
            <a:r>
              <a:rPr lang="en-US" sz="2000" dirty="0"/>
              <a:t>) Add an Alpha or Beta prefix to pre-released APIs and then increment the release version when backwards compatibility is broken. This could follow a similar api versioning rules to Kubernetes.</a:t>
            </a:r>
          </a:p>
          <a:p>
            <a:pPr algn="l"/>
            <a:r>
              <a:rPr lang="en-US" sz="2000" b="1" dirty="0"/>
              <a:t>Point to discuss</a:t>
            </a:r>
            <a:r>
              <a:rPr lang="en-US" sz="2000" dirty="0"/>
              <a:t>: See Eric Murray proposal/rationale and agreed on a pattern: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Add alpha &amp; beta in the basepath (not aligned with current code)</a:t>
            </a:r>
          </a:p>
          <a:p>
            <a:pPr algn="l"/>
            <a:r>
              <a:rPr lang="en-US" sz="2000" dirty="0"/>
              <a:t>OR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Keep semantic versioning for pre-releases, perhaps formalizing alpha / beta / </a:t>
            </a:r>
            <a:r>
              <a:rPr lang="en-US" sz="2000" dirty="0" err="1"/>
              <a:t>rc</a:t>
            </a:r>
            <a:r>
              <a:rPr lang="en-US" sz="2000" dirty="0"/>
              <a:t> extensions if agreed to be useful (e.g. v0.9.0-rc)</a:t>
            </a:r>
          </a:p>
          <a:p>
            <a:pPr algn="l"/>
            <a:endParaRPr lang="en-US" sz="2000" dirty="0"/>
          </a:p>
          <a:p>
            <a:pPr algn="l"/>
            <a:endParaRPr lang="en-US" sz="2000" dirty="0"/>
          </a:p>
          <a:p>
            <a:endParaRPr lang="en-US" sz="14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211258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AMARA release bran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314511"/>
          </a:xfrm>
        </p:spPr>
        <p:txBody>
          <a:bodyPr/>
          <a:lstStyle/>
          <a:p>
            <a:r>
              <a:rPr lang="en-US" sz="2000" b="1" dirty="0"/>
              <a:t>Problem statement: </a:t>
            </a:r>
            <a:r>
              <a:rPr lang="en-US" sz="2000" dirty="0"/>
              <a:t>Clarify the Camara Versioning Guidelines document about role of Main branch and Releases branches. (source: </a:t>
            </a:r>
            <a:r>
              <a:rPr lang="en-US" sz="2000" dirty="0">
                <a:hlinkClick r:id="rId5"/>
              </a:rPr>
              <a:t>Development and Release Branches · Issue #66 · camaraproject/Commonalities (github.com)</a:t>
            </a:r>
            <a:r>
              <a:rPr lang="en-US" sz="2000" dirty="0"/>
              <a:t>) – Raised by </a:t>
            </a:r>
            <a:r>
              <a:rPr lang="en-US" sz="2000" b="1" dirty="0"/>
              <a:t>Fabrizio </a:t>
            </a:r>
            <a:r>
              <a:rPr lang="en-US" sz="2000" b="1" dirty="0" err="1"/>
              <a:t>Moggio</a:t>
            </a:r>
            <a:endParaRPr lang="en-US" sz="2000" b="1" dirty="0"/>
          </a:p>
          <a:p>
            <a:endParaRPr lang="en-US" sz="1000" b="1" dirty="0"/>
          </a:p>
          <a:p>
            <a:r>
              <a:rPr lang="en-US" sz="2000" b="1" dirty="0"/>
              <a:t>Point to discuss</a:t>
            </a:r>
            <a:r>
              <a:rPr lang="en-US" sz="2000" dirty="0"/>
              <a:t>: Validate the pattern – as of now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the </a:t>
            </a:r>
            <a:r>
              <a:rPr lang="en-US" sz="1600" b="1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Main Branch</a:t>
            </a:r>
            <a:r>
              <a:rPr lang="en-US" sz="1600" b="0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 is where the External Developer can find the work in progress. It is meant </a:t>
            </a:r>
            <a:r>
              <a:rPr lang="en-US" sz="1600" b="1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for development</a:t>
            </a:r>
            <a:r>
              <a:rPr lang="en-US" sz="1600" b="0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. When the work is consolidated a Release Tag is created and a Release Branch is created. Considering an API Family with more APIs inside, a Release Tag and a new Release Branch is done when all the APIs are completed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the </a:t>
            </a:r>
            <a:r>
              <a:rPr lang="en-US" sz="1600" b="1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Release Branches</a:t>
            </a:r>
            <a:r>
              <a:rPr lang="en-US" sz="1600" b="0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 is where the External Developer can find a stable version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b="0" i="0" dirty="0">
              <a:solidFill>
                <a:srgbClr val="1F2328"/>
              </a:solidFill>
              <a:effectLst/>
              <a:latin typeface="-apple-system"/>
            </a:endParaRPr>
          </a:p>
          <a:p>
            <a:pPr>
              <a:spcBef>
                <a:spcPts val="0"/>
              </a:spcBef>
            </a:pPr>
            <a:r>
              <a:rPr lang="en-US" sz="2000" dirty="0"/>
              <a:t>Fabrizio highlighted 2 points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F2328"/>
                </a:solidFill>
                <a:latin typeface="Montserrat Light" panose="00000400000000000000" pitchFamily="2" charset="0"/>
              </a:rPr>
              <a:t>how to work on two versions in parallel? Use of 2 subfolders?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F2328"/>
                </a:solidFill>
                <a:latin typeface="Montserrat Light" panose="00000400000000000000" pitchFamily="2" charset="0"/>
              </a:rPr>
              <a:t>why we need the branches for releases if we already have Release Tags in the Main branch?</a:t>
            </a:r>
          </a:p>
        </p:txBody>
      </p:sp>
    </p:spTree>
    <p:extLst>
      <p:ext uri="{BB962C8B-B14F-4D97-AF65-F5344CB8AC3E}">
        <p14:creationId xmlns:p14="http://schemas.microsoft.com/office/powerpoint/2010/main" val="3000517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latin typeface="Montserrat Light" panose="00000400000000000000" pitchFamily="2" charset="0"/>
              </a:rPr>
              <a:t>Readiness Check List adjust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314511"/>
          </a:xfrm>
        </p:spPr>
        <p:txBody>
          <a:bodyPr/>
          <a:lstStyle/>
          <a:p>
            <a:r>
              <a:rPr lang="en-US" sz="2000" b="1" dirty="0"/>
              <a:t>Problem statement</a:t>
            </a:r>
            <a:r>
              <a:rPr lang="en-US" sz="2000" dirty="0"/>
              <a:t>: Step 6 completion of the Readiness Check list when only one operator implemented the API; source: </a:t>
            </a:r>
            <a:r>
              <a:rPr lang="en-US" sz="2000" dirty="0">
                <a:hlinkClick r:id="rId5"/>
              </a:rPr>
              <a:t>Readiness Checklist step 6 update proposal · Issue #12 · camaraproject/Commonalities (github.com)</a:t>
            </a:r>
            <a:endParaRPr lang="en-US" sz="2000" dirty="0"/>
          </a:p>
          <a:p>
            <a:r>
              <a:rPr lang="en-US" sz="2000" b="1" dirty="0"/>
              <a:t>Current situation</a:t>
            </a:r>
            <a:r>
              <a:rPr lang="en-US" sz="20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oint 6 enforced: </a:t>
            </a:r>
            <a:r>
              <a:rPr lang="en-US" sz="2000" b="1" dirty="0">
                <a:solidFill>
                  <a:srgbClr val="1F2328"/>
                </a:solidFill>
                <a:latin typeface="Montserrat Light" panose="00000400000000000000" pitchFamily="2" charset="0"/>
              </a:rPr>
              <a:t>Tested by at least 2 operat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F2328"/>
                </a:solidFill>
                <a:latin typeface="Montserrat Light" panose="00000400000000000000" pitchFamily="2" charset="0"/>
              </a:rPr>
              <a:t>(to be confirmed) In the WoW with GSMA, GSMA required 2 operators</a:t>
            </a:r>
            <a:endParaRPr lang="en-US" sz="2000" dirty="0"/>
          </a:p>
          <a:p>
            <a:r>
              <a:rPr lang="en-US" sz="2000" b="1" dirty="0"/>
              <a:t>Point to discus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F2328"/>
                </a:solidFill>
                <a:latin typeface="Montserrat Light" panose="00000400000000000000" pitchFamily="2" charset="0"/>
              </a:rPr>
              <a:t>A</a:t>
            </a:r>
            <a:r>
              <a:rPr lang="en-US" sz="2000" i="0" dirty="0">
                <a:solidFill>
                  <a:srgbClr val="1F2328"/>
                </a:solidFill>
                <a:effectLst/>
                <a:latin typeface="Montserrat Light" panose="00000400000000000000" pitchFamily="2" charset="0"/>
              </a:rPr>
              <a:t>dd to step six a note regarding the Beta version: if an API has completed all the required steps from the checklist but it is just implemented by one Operator, it can be anyway published on the market as Beta vers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Montserrat Light" panose="00000400000000000000" pitchFamily="2" charset="0"/>
            </a:endParaRPr>
          </a:p>
          <a:p>
            <a:endParaRPr lang="en-US" sz="2000" dirty="0"/>
          </a:p>
          <a:p>
            <a:endParaRPr lang="en-US" sz="1600" dirty="0">
              <a:solidFill>
                <a:srgbClr val="1F2328"/>
              </a:solidFill>
              <a:latin typeface="Montserrat 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026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MARA API Conforman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594592"/>
          </a:xfrm>
        </p:spPr>
        <p:txBody>
          <a:bodyPr/>
          <a:lstStyle/>
          <a:p>
            <a:pPr algn="l"/>
            <a:r>
              <a:rPr lang="en-US" sz="2000" b="1" dirty="0"/>
              <a:t>Problem statement: </a:t>
            </a:r>
            <a:r>
              <a:rPr lang="en-US" sz="2000" dirty="0"/>
              <a:t>How we make sure that an implementation “assuming” to provide CAMARA API is really providing a “compliant’” CAMARA API – source: </a:t>
            </a:r>
            <a:r>
              <a:rPr lang="en-US" sz="1800" dirty="0">
                <a:hlinkClick r:id="rId5"/>
              </a:rPr>
              <a:t>Define mandatory end points URL in each project · Issue #63 · camaraproject/Commonalities (github.com)</a:t>
            </a:r>
            <a:endParaRPr lang="en-US" sz="1600" dirty="0"/>
          </a:p>
          <a:p>
            <a:pPr algn="l"/>
            <a:endParaRPr lang="en-US" sz="200" b="1" dirty="0"/>
          </a:p>
          <a:p>
            <a:pPr algn="l"/>
            <a:r>
              <a:rPr lang="en-US" sz="2000" b="1" dirty="0"/>
              <a:t>Points to discuss</a:t>
            </a:r>
            <a:r>
              <a:rPr lang="en-US" sz="2000" dirty="0"/>
              <a:t>: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Get agreement on a “conformance profile” requiremen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“conformance profile” allows to provide mandatory</a:t>
            </a:r>
          </a:p>
          <a:p>
            <a:pPr marL="904500" lvl="3" indent="-342900"/>
            <a:r>
              <a:rPr lang="en-US" sz="2000" dirty="0"/>
              <a:t>Resource managed and error message when not managed</a:t>
            </a:r>
          </a:p>
          <a:p>
            <a:pPr marL="904500" lvl="3" indent="-342900"/>
            <a:r>
              <a:rPr lang="en-US" sz="2000" dirty="0"/>
              <a:t>Operation managed and error message when not managed</a:t>
            </a:r>
          </a:p>
          <a:p>
            <a:pPr marL="904500" lvl="3" indent="-342900"/>
            <a:r>
              <a:rPr lang="en-US" sz="2000" dirty="0"/>
              <a:t>Attributes manag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op with Open Gateway product stream to check/validate “conformance profile”</a:t>
            </a:r>
          </a:p>
          <a:p>
            <a:pPr algn="l"/>
            <a:r>
              <a:rPr lang="en-US" sz="1400" dirty="0"/>
              <a:t>(note: how to do this “conformance profile is the next point)</a:t>
            </a:r>
          </a:p>
          <a:p>
            <a:pPr algn="l"/>
            <a:endParaRPr lang="en-US" sz="2000" dirty="0"/>
          </a:p>
          <a:p>
            <a:endParaRPr lang="en-US" sz="14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73341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EE375C-F701-800D-8FE8-6EE07A748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EE375C-F701-800D-8FE8-6EE07A748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742CC3-DD2D-6F61-D9C9-8DFCE6ADE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AMARA API Conforman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D1C390-1E64-EE28-AA13-E1719F974C6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3044511"/>
          </a:xfrm>
        </p:spPr>
        <p:txBody>
          <a:bodyPr/>
          <a:lstStyle/>
          <a:p>
            <a:pPr algn="l"/>
            <a:r>
              <a:rPr lang="en-US" sz="2000" b="1" dirty="0"/>
              <a:t>Problem statement:  </a:t>
            </a:r>
            <a:r>
              <a:rPr lang="en-US" sz="2000" dirty="0"/>
              <a:t>How the conformance profile could be defined &amp; shared. Source: </a:t>
            </a:r>
            <a:r>
              <a:rPr lang="fr-FR" sz="2000" dirty="0">
                <a:hlinkClick r:id="rId5"/>
              </a:rPr>
              <a:t>Automate API design tests to </a:t>
            </a:r>
            <a:r>
              <a:rPr lang="fr-FR" sz="2000" dirty="0" err="1">
                <a:hlinkClick r:id="rId5"/>
              </a:rPr>
              <a:t>ensure</a:t>
            </a:r>
            <a:r>
              <a:rPr lang="fr-FR" sz="2000" dirty="0">
                <a:hlinkClick r:id="rId5"/>
              </a:rPr>
              <a:t> CAMARA compliance · Issue #95 · camaraproject/</a:t>
            </a:r>
            <a:r>
              <a:rPr lang="fr-FR" sz="2000" dirty="0" err="1">
                <a:hlinkClick r:id="rId5"/>
              </a:rPr>
              <a:t>Governance</a:t>
            </a:r>
            <a:r>
              <a:rPr lang="fr-FR" sz="2000" dirty="0">
                <a:hlinkClick r:id="rId5"/>
              </a:rPr>
              <a:t> (github.com)</a:t>
            </a:r>
            <a:endParaRPr lang="en-US" sz="2000" dirty="0"/>
          </a:p>
          <a:p>
            <a:pPr algn="l"/>
            <a:endParaRPr lang="en-US" sz="2000" b="1" dirty="0"/>
          </a:p>
          <a:p>
            <a:r>
              <a:rPr lang="en-US" sz="2000" b="1" dirty="0"/>
              <a:t>Point to discuss</a:t>
            </a:r>
            <a:r>
              <a:rPr lang="en-US" sz="2000" dirty="0"/>
              <a:t>: How we describe this conformance?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2000" dirty="0"/>
              <a:t>Loop with GSMA conformance program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2000" dirty="0"/>
              <a:t>Describe conformance profile in a markdown document?</a:t>
            </a:r>
          </a:p>
          <a:p>
            <a:pPr marL="457200" indent="-457200" algn="l">
              <a:buFont typeface="+mj-lt"/>
              <a:buAutoNum type="arabicPeriod"/>
            </a:pPr>
            <a:r>
              <a:rPr lang="en-US" sz="2000" dirty="0"/>
              <a:t>Gherkin test collection provided to test an implementation?</a:t>
            </a:r>
          </a:p>
          <a:p>
            <a:pPr algn="l"/>
            <a:endParaRPr lang="en-US" sz="2000" dirty="0"/>
          </a:p>
          <a:p>
            <a:endParaRPr lang="en-US" sz="1400" dirty="0"/>
          </a:p>
          <a:p>
            <a:endParaRPr lang="en-US" sz="2000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4CCA1094-4BD2-0AA2-A9B7-E70EECD0EB08}"/>
              </a:ext>
            </a:extLst>
          </p:cNvPr>
          <p:cNvSpPr txBox="1">
            <a:spLocks/>
          </p:cNvSpPr>
          <p:nvPr/>
        </p:nvSpPr>
        <p:spPr>
          <a:xfrm>
            <a:off x="288924" y="5585790"/>
            <a:ext cx="10944225" cy="7845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4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tx2"/>
                </a:solidFill>
                <a:latin typeface="Montserrat Light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80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"/>
              <a:defRPr sz="1500" b="0" i="0" kern="1200">
                <a:solidFill>
                  <a:schemeClr val="tx2"/>
                </a:solidFill>
                <a:latin typeface="Montserrat Light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0000" indent="-180000" algn="l" defTabSz="439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00" b="0" i="0" kern="1200">
                <a:solidFill>
                  <a:schemeClr val="tx2"/>
                </a:solidFill>
                <a:latin typeface="Montserrat Light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616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00" b="0" i="0" kern="1200">
                <a:solidFill>
                  <a:schemeClr val="tx2"/>
                </a:solidFill>
                <a:latin typeface="Montserrat Light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56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00" b="0" i="0" kern="1200" baseline="0">
                <a:solidFill>
                  <a:schemeClr val="tx2"/>
                </a:solidFill>
                <a:latin typeface="Montserrat Light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93186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10906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12811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1474788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r>
              <a:rPr lang="en-US" sz="1800" dirty="0"/>
              <a:t>Note: OAS 3.0.x conformance against a linting ruleset based on OAS &amp; Commonalities API Design Guidelines is out of scope of this conformance.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2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51385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4AD662EB7A25499208DD4235E5F8D6" ma:contentTypeVersion="17" ma:contentTypeDescription="Ein neues Dokument erstellen." ma:contentTypeScope="" ma:versionID="e182a991176a11e6fd39ea86269ab0ff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12521eb311d5836c2c2d10f7da0fffbd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e948aa-5406-442d-a9f3-76bef890740c}" ma:internalName="TaxCatchAll" ma:showField="CatchAllData" ma:web="97396690-0b91-46d2-ad5a-06f45914e1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7396690-0b91-46d2-ad5a-06f45914e19c">
      <UserInfo>
        <DisplayName/>
        <AccountId xsi:nil="true"/>
        <AccountType/>
      </UserInfo>
    </SharedWithUsers>
    <lcf76f155ced4ddcb4097134ff3c332f xmlns="6126070c-0864-4b03-b2dc-aab5d8c39348">
      <Terms xmlns="http://schemas.microsoft.com/office/infopath/2007/PartnerControls"/>
    </lcf76f155ced4ddcb4097134ff3c332f>
    <TaxCatchAll xmlns="97396690-0b91-46d2-ad5a-06f45914e19c" xsi:nil="true"/>
  </documentManagement>
</p:properties>
</file>

<file path=customXml/itemProps1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B645B9-A9E2-4EDD-B6E0-BBB9E963FD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B42D622-CDD9-4675-9A05-EA7BA0F70DB0}">
  <ds:schemaRefs>
    <ds:schemaRef ds:uri="http://schemas.microsoft.com/office/2006/metadata/properties"/>
    <ds:schemaRef ds:uri="http://schemas.microsoft.com/office/infopath/2007/PartnerControls"/>
    <ds:schemaRef ds:uri="97396690-0b91-46d2-ad5a-06f45914e19c"/>
    <ds:schemaRef ds:uri="6126070c-0864-4b03-b2dc-aab5d8c39348"/>
  </ds:schemaRefs>
</ds:datastoreItem>
</file>

<file path=docMetadata/LabelInfo.xml><?xml version="1.0" encoding="utf-8"?>
<clbl:labelList xmlns:clbl="http://schemas.microsoft.com/office/2020/mipLabelMetadata">
  <clbl:label id="{07222825-62ea-40f3-96b5-5375c07996e2}" enabled="1" method="Privileged" siteId="{90c7a20a-f34b-40bf-bc48-b9253b6f5d20}" removed="0"/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328</TotalTime>
  <Words>848</Words>
  <Application>Microsoft Office PowerPoint</Application>
  <PresentationFormat>Personnalisé</PresentationFormat>
  <Paragraphs>77</Paragraphs>
  <Slides>1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0" baseType="lpstr">
      <vt:lpstr>Montserrat Light</vt:lpstr>
      <vt:lpstr>-apple-system</vt:lpstr>
      <vt:lpstr>Arial</vt:lpstr>
      <vt:lpstr>Wingdings 2</vt:lpstr>
      <vt:lpstr>Calibri</vt:lpstr>
      <vt:lpstr>Open Sans</vt:lpstr>
      <vt:lpstr>FlexoSoft</vt:lpstr>
      <vt:lpstr>Montserrat</vt:lpstr>
      <vt:lpstr>Detecon_Master</vt:lpstr>
      <vt:lpstr>think-cell Folie</vt:lpstr>
      <vt:lpstr>Présentation PowerPoint</vt:lpstr>
      <vt:lpstr>Release Management</vt:lpstr>
      <vt:lpstr>Today Situation</vt:lpstr>
      <vt:lpstr>CAMARA API family release</vt:lpstr>
      <vt:lpstr>CAMARA API Versioning</vt:lpstr>
      <vt:lpstr>CAMARA release branch</vt:lpstr>
      <vt:lpstr>Readiness Check List adjustment</vt:lpstr>
      <vt:lpstr>CAMARA API Conformance</vt:lpstr>
      <vt:lpstr>CAMARA API Conformance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ROBERT Ludovic INNOV/NET</cp:lastModifiedBy>
  <cp:revision>24</cp:revision>
  <dcterms:created xsi:type="dcterms:W3CDTF">2023-03-22T16:25:12Z</dcterms:created>
  <dcterms:modified xsi:type="dcterms:W3CDTF">2023-10-19T14:5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044AD662EB7A25499208DD4235E5F8D6</vt:lpwstr>
  </property>
  <property fmtid="{D5CDD505-2E9C-101B-9397-08002B2CF9AE}" pid="4" name="ClassificationContentMarkingFooterText">
    <vt:lpwstr>Orange Restricted</vt:lpwstr>
  </property>
</Properties>
</file>